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3.xml" ContentType="application/vnd.openxmlformats-officedocument.drawingml.chartshape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5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6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7.xml" ContentType="application/vnd.openxmlformats-officedocument.drawingml.chartshape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8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9.xml" ContentType="application/vnd.openxmlformats-officedocument.drawingml.chartshape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4"/>
  </p:sldMasterIdLst>
  <p:notesMasterIdLst>
    <p:notesMasterId r:id="rId12"/>
  </p:notesMasterIdLst>
  <p:sldIdLst>
    <p:sldId id="258" r:id="rId5"/>
    <p:sldId id="422" r:id="rId6"/>
    <p:sldId id="424" r:id="rId7"/>
    <p:sldId id="423" r:id="rId8"/>
    <p:sldId id="421" r:id="rId9"/>
    <p:sldId id="419" r:id="rId10"/>
    <p:sldId id="41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2F2F2"/>
    <a:srgbClr val="EFEFEF"/>
    <a:srgbClr val="FF0000"/>
    <a:srgbClr val="2F5597"/>
    <a:srgbClr val="005CAB"/>
    <a:srgbClr val="EAEFF7"/>
    <a:srgbClr val="2F5598"/>
    <a:srgbClr val="D2DEE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CB2C8C-4B04-4CF8-9C34-5BBDD4A78944}" v="1" dt="2024-04-18T04:29:33.3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400" autoAdjust="0"/>
  </p:normalViewPr>
  <p:slideViewPr>
    <p:cSldViewPr snapToGrid="0">
      <p:cViewPr varScale="1">
        <p:scale>
          <a:sx n="78" d="100"/>
          <a:sy n="78" d="100"/>
        </p:scale>
        <p:origin x="85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F9-46DF-85F4-FCDA2BE889D5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CF9-46DF-85F4-FCDA2BE889D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CF9-46DF-85F4-FCDA2BE889D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CF9-46DF-85F4-FCDA2BE889D5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CF9-46DF-85F4-FCDA2BE889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57-44AD-8082-E6A7C7CF0F91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57-44AD-8082-E6A7C7CF0F9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57-44AD-8082-E6A7C7CF0F9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57-44AD-8082-E6A7C7CF0F91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9</c:v>
                </c:pt>
                <c:pt idx="1">
                  <c:v>9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57-44AD-8082-E6A7C7CF0F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D9-4A7C-8DDD-97BA3F0ADC4C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D9-4A7C-8DDD-97BA3F0ADC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1D9-4A7C-8DDD-97BA3F0ADC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1D9-4A7C-8DDD-97BA3F0ADC4C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General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D9-4A7C-8DDD-97BA3F0AD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8A-4201-A89F-D635532EED6B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8A-4201-A89F-D635532EED6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8A-4201-A89F-D635532EED6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8A-4201-A89F-D635532EED6B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7</c:v>
                </c:pt>
                <c:pt idx="1">
                  <c:v>9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48A-4201-A89F-D635532EE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80-4BF0-AD0D-A173B559B539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380-4BF0-AD0D-A173B559B5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80-4BF0-AD0D-A173B559B5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380-4BF0-AD0D-A173B559B539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380-4BF0-AD0D-A173B559B5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EC-4628-A7D8-01EACD6FB75C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3EC-4628-A7D8-01EACD6FB75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3EC-4628-A7D8-01EACD6FB75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3EC-4628-A7D8-01EACD6FB75C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9</c:v>
                </c:pt>
                <c:pt idx="1">
                  <c:v>9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EC-4628-A7D8-01EACD6FB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779</cdr:x>
      <cdr:y>0.48759</cdr:y>
    </cdr:from>
    <cdr:to>
      <cdr:x>0.84877</cdr:x>
      <cdr:y>0.7552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90091" y="748160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9033</cdr:x>
      <cdr:y>0.47567</cdr:y>
    </cdr:from>
    <cdr:to>
      <cdr:x>0.82131</cdr:x>
      <cdr:y>0.743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53520" y="729874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85.2%</a:t>
          </a:r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8036</cdr:x>
      <cdr:y>0.40824</cdr:y>
    </cdr:from>
    <cdr:to>
      <cdr:x>0.81964</cdr:x>
      <cdr:y>0.6119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0243" y="727462"/>
          <a:ext cx="851513" cy="3630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98.10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7538</cdr:x>
      <cdr:y>0.35533</cdr:y>
    </cdr:from>
    <cdr:to>
      <cdr:x>0.79205</cdr:x>
      <cdr:y>0.5488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07312" y="471894"/>
          <a:ext cx="728958" cy="2570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1779</cdr:x>
      <cdr:y>0.48759</cdr:y>
    </cdr:from>
    <cdr:to>
      <cdr:x>0.84877</cdr:x>
      <cdr:y>0.7552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90091" y="748160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8347</cdr:x>
      <cdr:y>0.47189</cdr:y>
    </cdr:from>
    <cdr:to>
      <cdr:x>0.81445</cdr:x>
      <cdr:y>0.7395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4376" y="549756"/>
          <a:ext cx="840466" cy="3118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85.2%</a:t>
          </a:r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0095</cdr:x>
      <cdr:y>0.37448</cdr:y>
    </cdr:from>
    <cdr:to>
      <cdr:x>0.81118</cdr:x>
      <cdr:y>0.56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67672" y="454987"/>
          <a:ext cx="812826" cy="23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98.10%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8451</cdr:x>
      <cdr:y>0.5</cdr:y>
    </cdr:from>
    <cdr:to>
      <cdr:x>0.81549</cdr:x>
      <cdr:y>0.7676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5767" y="767204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85.2%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0095</cdr:x>
      <cdr:y>0.37448</cdr:y>
    </cdr:from>
    <cdr:to>
      <cdr:x>0.81118</cdr:x>
      <cdr:y>0.56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67672" y="454987"/>
          <a:ext cx="812826" cy="23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98.10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A27D9B-AE93-47A3-88FD-CB80385CD563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458049-099B-4311-93C0-4E2515A198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085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507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22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804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077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876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739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34C7B-86EB-4E93-B035-AD07203AA9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C13C7C-D404-4AD0-A7D8-EFF82C505D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A133B-BFCE-40EF-ABFE-F7953EE3B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A627D-7EFE-408E-A027-CE0890DAF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C2635A-5413-4A54-950C-C72850102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81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E7509-E9D1-4830-95C6-151957EE8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59063D-2C25-401D-88DF-7A67AED17B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B162F2-7E9C-47BF-BD0F-40FD4CAB4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547181-C8C2-4A4C-A641-CC08C8ABD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506EF4-E410-4DA3-B47D-6D1D3641A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825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D41E7C-EB0E-40D2-AE9E-9E9544FF1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3030D3-50CC-44AC-A1C4-9A2BB52C0C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050B1-B76B-45E9-8DB5-9DB469C78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2A76A-C553-455C-8CD8-A583B1FC9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BFB308-7322-4FB3-B841-E043A392A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373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C1101-61F1-483F-8C1E-657FA7897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95D816-FA1D-492C-AE93-5107CB3170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C42A30-650B-4FC6-9E48-0FD0EB1D8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9895C7-1CE9-4704-BDF0-0F2405D33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B04D5-7BB1-4498-A22A-CA6C5C6F6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262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97B3E-009C-4E0C-9BBC-B8ADF4D3B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0F35C9-3399-48EF-8A42-717A7CC8F5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0C88A-F161-482E-A9C5-229D4479A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7886E-BEB9-41C6-90FD-26C689AB3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D4723B-F397-46E7-8FA7-0C6E3E103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510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6A829-3FA7-483F-9E87-E5EB855CB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F0D90C-F4CE-4701-8DC7-FB733C0A8E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18DDF2-6AD2-4C28-A437-BAC36C813C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8148E3-3F9D-46E9-BE0B-372DF2DDB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0F2626-8EA8-4889-8F48-AD986BC44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0AE9B-CFDF-414D-9769-E3BF721E8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084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3FF01-983C-44F4-B2FE-B1C93C0AF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CA2ED6-FF22-42EB-A678-FA7E6EAC2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4B6529-AE64-40C0-8720-71B685399A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C8EC7A-D6E3-418C-9A33-7B620240E4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0C80B8-5871-40C6-BC9E-EE5B024D11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DC2D61-E44B-42E3-9CCF-5A5163203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5913F8-867C-4061-96AF-9D981EAB1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DF97C9-19D2-4822-A3E0-90A9C9480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834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6AF01-890E-4DAB-912D-DA80F74BF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17359-EE56-436E-8054-AD0ACB92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9B89CE-F0A1-419C-9D03-A8570722E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F515D9-1BD8-4118-A80C-EAADEFE88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014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673812-CE88-41AD-8E89-7BEE058FD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D4F39C-1441-46EB-BCDF-0712F885D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A4343D-0B4A-42D2-9A05-4463E969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30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F8C3B-435B-44E2-BA7D-5B03510B6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75DAC-F092-4CFD-9215-4BDBEA41EC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708CE6-F991-4168-81E5-78C6C196EA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4E44E8-05BB-4393-B322-51767F42C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9AD435-4666-423E-94D3-96E70F1BA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848141-8CA1-4039-B26D-C7211FA3E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4257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2E57C-BB1F-4D5D-AA8B-71989A9A4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87668B-172D-40AF-B7A5-AAFEB6E2D4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4E29C3-110C-4EA3-92A4-3E9B464E8C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59FBCA-B7CD-489F-B273-D6219E74B2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8F1592-E2E8-47F0-A222-78910AA8F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DA5AD7-CEC0-4DCF-9E7B-D53BE3393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73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A718B0-01D7-4D6D-8292-16B769416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6B4787-7B4C-4564-9CB9-637F31429A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A25195-A9DB-474E-A6D6-61CF891B1F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D737D-3F08-4223-8F18-DDA48D1CEC59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9D180-3924-4AC3-BD35-03DEC30020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E2836D-6B9A-406D-9C23-BAF1F54D81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48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chart" Target="../charts/chart4.xml"/><Relationship Id="rId5" Type="http://schemas.openxmlformats.org/officeDocument/2006/relationships/image" Target="../media/image3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chart" Target="../charts/chart8.xml"/><Relationship Id="rId5" Type="http://schemas.openxmlformats.org/officeDocument/2006/relationships/image" Target="../media/image3.emf"/><Relationship Id="rId10" Type="http://schemas.openxmlformats.org/officeDocument/2006/relationships/chart" Target="../charts/chart7.xml"/><Relationship Id="rId4" Type="http://schemas.openxmlformats.org/officeDocument/2006/relationships/oleObject" Target="../embeddings/oleObject2.bin"/><Relationship Id="rId9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chart" Target="../charts/chart11.xml"/><Relationship Id="rId4" Type="http://schemas.openxmlformats.org/officeDocument/2006/relationships/oleObject" Target="../embeddings/oleObject3.bin"/><Relationship Id="rId9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DF735E9-FB48-CF4A-B66D-3AA73548E9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36525"/>
            <a:ext cx="1221360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2C103D-A230-A74D-BCDE-0E4C13F70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208" y="1328075"/>
            <a:ext cx="10567779" cy="2852737"/>
          </a:xfrm>
        </p:spPr>
        <p:txBody>
          <a:bodyPr>
            <a:normAutofit fontScale="90000"/>
          </a:bodyPr>
          <a:lstStyle/>
          <a:p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VOLTAGE SUPPLY CONNECTION IN ENERGYSENSE</a:t>
            </a:r>
            <a:b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VSC)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4816D9-43ED-8444-8268-D8FC4FC884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3286" y="4356496"/>
            <a:ext cx="5538470" cy="1500187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PROJECT STATUS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20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ril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C0E283-A961-483B-8E43-1A07CEB4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177D4-3BE6-174D-995B-A7CD8488E896}" type="slidenum">
              <a:rPr lang="en-US" smtClean="0"/>
              <a:t>1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565CEB3-D7DF-4419-BAC4-8249118F9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5669" y="292376"/>
            <a:ext cx="1146963" cy="111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47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1369591"/>
              </p:ext>
            </p:extLst>
          </p:nvPr>
        </p:nvGraphicFramePr>
        <p:xfrm>
          <a:off x="5166040" y="1995776"/>
          <a:ext cx="6927060" cy="43135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91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47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10026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3338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r Requirement Specification (URS) &amp; Joint Application Design (JAD) Session 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Feb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Feb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Jul-22</a:t>
                      </a: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281964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r Requirement Sign-Off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Design Session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Jan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="1" u="sng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velopment</a:t>
                      </a:r>
                      <a:endParaRPr lang="en-MY" altLang="en-US" sz="900" b="1" u="sng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28323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gration with </a:t>
                      </a: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intain Old Application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34760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Number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979802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tus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583647"/>
                  </a:ext>
                </a:extLst>
              </a:tr>
              <a:tr h="31548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ges Timeline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462866"/>
                  </a:ext>
                </a:extLst>
              </a:tr>
              <a:tr h="31548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Eligibility 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769469"/>
                  </a:ext>
                </a:extLst>
              </a:tr>
              <a:tr h="416101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ubmission (non-draft)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580095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E68EB672-A7E9-2344-9817-CF8347A5D97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89782911"/>
              </p:ext>
            </p:extLst>
          </p:nvPr>
        </p:nvGraphicFramePr>
        <p:xfrm>
          <a:off x="62957" y="5270369"/>
          <a:ext cx="5016004" cy="84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3019">
                <a:tc>
                  <a:txBody>
                    <a:bodyPr/>
                    <a:lstStyle/>
                    <a:p>
                      <a:pPr algn="ctr"/>
                      <a:r>
                        <a:rPr lang="en-MY" sz="1400" b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400" b="1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800" b="1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4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shmi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share latest FS/FD Document to </a:t>
                      </a: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endParaRPr lang="en-US" sz="8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rnal Pre – SIT Test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icket number from Ikram Lim on AWS issue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create the letter to work at TNB premise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925015" y="1609847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/>
        </p:nvGraphicFramePr>
        <p:xfrm>
          <a:off x="37940" y="1553341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9C81DA95-7BBF-2D63-C584-DB9BCC5F1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0435970"/>
              </p:ext>
            </p:extLst>
          </p:nvPr>
        </p:nvGraphicFramePr>
        <p:xfrm>
          <a:off x="3093631" y="1835496"/>
          <a:ext cx="1332000" cy="1781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907514" y="1606639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970013" y="1606639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966536" y="161470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951920" y="161168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916025" y="1605435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895300746"/>
              </p:ext>
            </p:extLst>
          </p:nvPr>
        </p:nvGraphicFramePr>
        <p:xfrm>
          <a:off x="74938" y="3312012"/>
          <a:ext cx="5016004" cy="5558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6217">
                <a:tc>
                  <a:txBody>
                    <a:bodyPr/>
                    <a:lstStyle/>
                    <a:p>
                      <a:pPr algn="ctr"/>
                      <a:r>
                        <a:rPr lang="en-MY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4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449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86050" y="6633276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383041" y="6623854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2547363" y="6634173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2883832" y="6614118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3389727" y="6628050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3710641" y="6614055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1285716" y="6638795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1589960" y="6618740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978759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234388071"/>
              </p:ext>
            </p:extLst>
          </p:nvPr>
        </p:nvGraphicFramePr>
        <p:xfrm>
          <a:off x="86919" y="3923458"/>
          <a:ext cx="4992042" cy="131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20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7650">
                <a:tc>
                  <a:txBody>
                    <a:bodyPr/>
                    <a:lstStyle/>
                    <a:p>
                      <a:pPr algn="ctr"/>
                      <a:r>
                        <a:rPr lang="en-MY" sz="1400" b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88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tus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ges Timeline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Eligibil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ubmission (non-draft) </a:t>
                      </a: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 Sign-off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de merge between MVSC and myTNB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ug Fixing 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48E2A4A-CCED-22A3-3C82-2E0A603803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0747101"/>
              </p:ext>
            </p:extLst>
          </p:nvPr>
        </p:nvGraphicFramePr>
        <p:xfrm>
          <a:off x="619716" y="176223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96A04FF-36DC-FA23-E497-B9602264C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9549877"/>
              </p:ext>
            </p:extLst>
          </p:nvPr>
        </p:nvGraphicFramePr>
        <p:xfrm>
          <a:off x="602776" y="1835067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DCDD323-08CB-4970-223F-1F96ED66B9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0680058"/>
              </p:ext>
            </p:extLst>
          </p:nvPr>
        </p:nvGraphicFramePr>
        <p:xfrm>
          <a:off x="3076836" y="1841396"/>
          <a:ext cx="1332000" cy="1781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182705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3488491"/>
              </p:ext>
            </p:extLst>
          </p:nvPr>
        </p:nvGraphicFramePr>
        <p:xfrm>
          <a:off x="5122465" y="1860502"/>
          <a:ext cx="7001200" cy="50510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91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26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64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40724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984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CRM SR Number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123437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CPP Work Order Number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22818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tification Email Recipient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16625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Normal Document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3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Other Document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183537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Map A Digital Form 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2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57769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– Other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357080"/>
                  </a:ext>
                </a:extLst>
              </a:tr>
              <a:tr h="153647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Review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900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lasan</a:t>
                      </a: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knikal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5638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Qualification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280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date Business Area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2739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bmit Site Progres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0307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ply Required Date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3355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ointment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-Oct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Sept-23</a:t>
                      </a:r>
                    </a:p>
                    <a:p>
                      <a:pPr algn="ctr" fontAlgn="b"/>
                      <a:endParaRPr lang="en-MY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0613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nection Charge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514284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E68EB672-A7E9-2344-9817-CF8347A5D97A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31349" y="5532734"/>
          <a:ext cx="5016004" cy="81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946">
                <a:tc>
                  <a:txBody>
                    <a:bodyPr/>
                    <a:lstStyle/>
                    <a:p>
                      <a:pPr algn="ctr"/>
                      <a:r>
                        <a:rPr lang="en-MY" sz="12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200" b="1" baseline="0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12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180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shmi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share latest FS/FD Document to </a:t>
                      </a: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endParaRPr lang="en-US" sz="8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rnal Pre – SIT Test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icket number from Ikram Lim on AWS issue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create the letter to work at TNB premise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925015" y="1609847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/>
        </p:nvGraphicFramePr>
        <p:xfrm>
          <a:off x="37940" y="1553341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9C81DA95-7BBF-2D63-C584-DB9BCC5F178A}"/>
              </a:ext>
            </a:extLst>
          </p:cNvPr>
          <p:cNvGraphicFramePr/>
          <p:nvPr/>
        </p:nvGraphicFramePr>
        <p:xfrm>
          <a:off x="3137099" y="1988797"/>
          <a:ext cx="1182088" cy="1328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907514" y="1606639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970013" y="1606639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966536" y="161470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951920" y="161168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916025" y="1605435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517984206"/>
              </p:ext>
            </p:extLst>
          </p:nvPr>
        </p:nvGraphicFramePr>
        <p:xfrm>
          <a:off x="17777" y="3172968"/>
          <a:ext cx="5016004" cy="183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446">
                <a:tc>
                  <a:txBody>
                    <a:bodyPr/>
                    <a:lstStyle/>
                    <a:p>
                      <a:pPr algn="ctr"/>
                      <a:r>
                        <a:rPr lang="en-MY" sz="12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2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2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83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CPP Work Order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tification Email Recipi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MY" altLang="en-US" sz="8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MY" altLang="en-US" sz="8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MY" altLang="en-US" sz="8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64466" y="6553360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361457" y="6543938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2525779" y="6554257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2862248" y="6534202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3368143" y="6548134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3689057" y="6534139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1264132" y="6558879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1568376" y="6538824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/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17777" y="4224136"/>
          <a:ext cx="5016004" cy="1298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0840">
                <a:tc>
                  <a:txBody>
                    <a:bodyPr/>
                    <a:lstStyle/>
                    <a:p>
                      <a:pPr algn="ctr"/>
                      <a:r>
                        <a:rPr lang="en-MY" sz="12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3935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ssigning requirement/task for developer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CRM SR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Normal Docum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lasan</a:t>
                      </a: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GB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knikal</a:t>
                      </a: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de merge between MVSC and </a:t>
                      </a:r>
                      <a:r>
                        <a:rPr lang="en-US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ug Fixing 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B0BA95F-EDC9-B638-B029-4DBB1999BD74}"/>
              </a:ext>
            </a:extLst>
          </p:cNvPr>
          <p:cNvGraphicFramePr/>
          <p:nvPr/>
        </p:nvGraphicFramePr>
        <p:xfrm>
          <a:off x="549001" y="1988797"/>
          <a:ext cx="1430262" cy="11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A5E843-6DE7-914E-ADFE-4E00ED4A38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0453954"/>
              </p:ext>
            </p:extLst>
          </p:nvPr>
        </p:nvGraphicFramePr>
        <p:xfrm>
          <a:off x="549001" y="1988797"/>
          <a:ext cx="1332000" cy="1184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02A72E9-7578-9BDF-321C-8E106D8C66C8}"/>
              </a:ext>
            </a:extLst>
          </p:cNvPr>
          <p:cNvGraphicFramePr/>
          <p:nvPr/>
        </p:nvGraphicFramePr>
        <p:xfrm>
          <a:off x="3083693" y="2063644"/>
          <a:ext cx="1332000" cy="1214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4272709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8253517"/>
              </p:ext>
            </p:extLst>
          </p:nvPr>
        </p:nvGraphicFramePr>
        <p:xfrm>
          <a:off x="5163451" y="1948382"/>
          <a:ext cx="6830682" cy="399889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16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3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86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9112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368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ly Complete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ynatrace integration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ergySense</a:t>
                      </a:r>
                      <a:endParaRPr lang="en-US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verall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47170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ing for myTNB Portal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-Oc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May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2909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Code merge between MVSC and    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TN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Nov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-Nov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18763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Integration Test (SIT) MVSC with ICPP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.-Ma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April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Ma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inal System Integration Test (SIT)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-Ap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-May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703478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Final User Acceptance Test (UAT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-May-25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-June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536843"/>
                  </a:ext>
                </a:extLst>
              </a:tr>
              <a:tr h="421314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ployment to Production Environment &amp; Go Live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-June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ne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979802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E68EB672-A7E9-2344-9817-CF8347A5D97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631027768"/>
              </p:ext>
            </p:extLst>
          </p:nvPr>
        </p:nvGraphicFramePr>
        <p:xfrm>
          <a:off x="74938" y="4994651"/>
          <a:ext cx="5016004" cy="84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4730">
                <a:tc>
                  <a:txBody>
                    <a:bodyPr/>
                    <a:lstStyle/>
                    <a:p>
                      <a:pPr algn="ctr"/>
                      <a:r>
                        <a:rPr lang="en-MY" sz="14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400" b="1" baseline="0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8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4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shmi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share latest FS/FD Document to </a:t>
                      </a: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endParaRPr lang="en-US" sz="8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rnal Pre – SIT Test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icket number from Ikram Lim on AWS issue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 err="1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urel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 create the letter to work at TNB premise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925015" y="1609847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19247"/>
              </p:ext>
            </p:extLst>
          </p:nvPr>
        </p:nvGraphicFramePr>
        <p:xfrm>
          <a:off x="34091" y="1405267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907514" y="1606639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970013" y="1606639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966536" y="161470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951920" y="161168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922130" y="1606639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131888186"/>
              </p:ext>
            </p:extLst>
          </p:nvPr>
        </p:nvGraphicFramePr>
        <p:xfrm>
          <a:off x="74938" y="3312011"/>
          <a:ext cx="5016004" cy="650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9787">
                <a:tc>
                  <a:txBody>
                    <a:bodyPr/>
                    <a:lstStyle/>
                    <a:p>
                      <a:pPr algn="ctr"/>
                      <a:r>
                        <a:rPr lang="en-MY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4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243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ergy Sens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e merge between MVSC and     myTNB.</a:t>
                      </a: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5867232" y="6420071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6164223" y="6410649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8328545" y="6420968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8665014" y="6400913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9170909" y="6414845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9491823" y="6400850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7066898" y="6425590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7371142" y="6405535"/>
            <a:ext cx="1022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6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018558"/>
              </p:ext>
            </p:extLst>
          </p:nvPr>
        </p:nvGraphicFramePr>
        <p:xfrm>
          <a:off x="51108" y="87398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351431876"/>
              </p:ext>
            </p:extLst>
          </p:nvPr>
        </p:nvGraphicFramePr>
        <p:xfrm>
          <a:off x="66596" y="4056511"/>
          <a:ext cx="5016004" cy="844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226">
                <a:tc>
                  <a:txBody>
                    <a:bodyPr/>
                    <a:lstStyle/>
                    <a:p>
                      <a:pPr algn="ctr"/>
                      <a:r>
                        <a:rPr lang="en-MY" sz="1400" b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8883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ing for myTNB Portal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Integration Test (SIT) MVSC with ICPP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DF78AA1-64F3-ECE9-57E7-EBEA6A48BD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2983991"/>
              </p:ext>
            </p:extLst>
          </p:nvPr>
        </p:nvGraphicFramePr>
        <p:xfrm>
          <a:off x="619716" y="176223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3F841D4-0863-DEE5-F04C-93866E207D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1215640"/>
              </p:ext>
            </p:extLst>
          </p:nvPr>
        </p:nvGraphicFramePr>
        <p:xfrm>
          <a:off x="561512" y="174261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97ADF8C-16B8-1F2A-3CA4-3068562714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184552"/>
              </p:ext>
            </p:extLst>
          </p:nvPr>
        </p:nvGraphicFramePr>
        <p:xfrm>
          <a:off x="3089494" y="1976251"/>
          <a:ext cx="1332000" cy="133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610280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Tab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131156"/>
              </p:ext>
            </p:extLst>
          </p:nvPr>
        </p:nvGraphicFramePr>
        <p:xfrm>
          <a:off x="37939" y="101297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</a:t>
                      </a:r>
                      <a:r>
                        <a:rPr lang="en-MY" sz="1100" b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e</a:t>
                      </a: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ue</a:t>
                      </a:r>
                      <a:endParaRPr lang="en-MY" sz="1100" b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6009312"/>
              </p:ext>
            </p:extLst>
          </p:nvPr>
        </p:nvGraphicFramePr>
        <p:xfrm>
          <a:off x="37935" y="5022502"/>
          <a:ext cx="12096368" cy="82252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98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3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810">
                  <a:extLst>
                    <a:ext uri="{9D8B030D-6E8A-4147-A177-3AD203B41FA5}">
                      <a16:colId xmlns:a16="http://schemas.microsoft.com/office/drawing/2014/main" val="1420936780"/>
                    </a:ext>
                  </a:extLst>
                </a:gridCol>
                <a:gridCol w="4000500">
                  <a:extLst>
                    <a:ext uri="{9D8B030D-6E8A-4147-A177-3AD203B41FA5}">
                      <a16:colId xmlns:a16="http://schemas.microsoft.com/office/drawing/2014/main" val="2326033057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39105227"/>
                    </a:ext>
                  </a:extLst>
                </a:gridCol>
              </a:tblGrid>
              <a:tr h="227661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P 3 ISSUES AND RECOMMENDATIONS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su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tegory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solution 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12">
                <a:tc>
                  <a:txBody>
                    <a:bodyPr/>
                    <a:lstStyle/>
                    <a:p>
                      <a:pPr algn="ctr"/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VPN cannot be accessed 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High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evelopers to go to TNB premise to continue working on development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notech / TNB</a:t>
                      </a: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pen</a:t>
                      </a: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363707"/>
                  </a:ext>
                </a:extLst>
              </a:tr>
            </a:tbl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85C7A97-FCDF-6FA5-BBCB-085F9F7C336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4588054"/>
              </p:ext>
            </p:extLst>
          </p:nvPr>
        </p:nvGraphicFramePr>
        <p:xfrm>
          <a:off x="37939" y="4107173"/>
          <a:ext cx="12102951" cy="72181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07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84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4680">
                  <a:extLst>
                    <a:ext uri="{9D8B030D-6E8A-4147-A177-3AD203B41FA5}">
                      <a16:colId xmlns:a16="http://schemas.microsoft.com/office/drawing/2014/main" val="1546230480"/>
                    </a:ext>
                  </a:extLst>
                </a:gridCol>
                <a:gridCol w="638246">
                  <a:extLst>
                    <a:ext uri="{9D8B030D-6E8A-4147-A177-3AD203B41FA5}">
                      <a16:colId xmlns:a16="http://schemas.microsoft.com/office/drawing/2014/main" val="1592806329"/>
                    </a:ext>
                  </a:extLst>
                </a:gridCol>
                <a:gridCol w="812264">
                  <a:extLst>
                    <a:ext uri="{9D8B030D-6E8A-4147-A177-3AD203B41FA5}">
                      <a16:colId xmlns:a16="http://schemas.microsoft.com/office/drawing/2014/main" val="3709612353"/>
                    </a:ext>
                  </a:extLst>
                </a:gridCol>
                <a:gridCol w="3396937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778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0187">
                  <a:extLst>
                    <a:ext uri="{9D8B030D-6E8A-4147-A177-3AD203B41FA5}">
                      <a16:colId xmlns:a16="http://schemas.microsoft.com/office/drawing/2014/main" val="3242066995"/>
                    </a:ext>
                  </a:extLst>
                </a:gridCol>
                <a:gridCol w="726282">
                  <a:extLst>
                    <a:ext uri="{9D8B030D-6E8A-4147-A177-3AD203B41FA5}">
                      <a16:colId xmlns:a16="http://schemas.microsoft.com/office/drawing/2014/main" val="2903180645"/>
                    </a:ext>
                  </a:extLst>
                </a:gridCol>
              </a:tblGrid>
              <a:tr h="227661">
                <a:tc gridSpan="9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P 3 RISKS AND MITIGATIONS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isk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kelihood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mpact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tegory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tiga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12">
                <a:tc>
                  <a:txBody>
                    <a:bodyPr/>
                    <a:lstStyle/>
                    <a:p>
                      <a:pPr algn="ctr"/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876709"/>
                  </a:ext>
                </a:extLst>
              </a:tr>
            </a:tbl>
          </a:graphicData>
        </a:graphic>
      </p:graphicFrame>
      <p:graphicFrame>
        <p:nvGraphicFramePr>
          <p:cNvPr id="3" name="Content Placeholder 1">
            <a:extLst>
              <a:ext uri="{FF2B5EF4-FFF2-40B4-BE49-F238E27FC236}">
                <a16:creationId xmlns:a16="http://schemas.microsoft.com/office/drawing/2014/main" id="{D2878D4B-DEA2-F49B-8BED-BB017E5099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1046863"/>
              </p:ext>
            </p:extLst>
          </p:nvPr>
        </p:nvGraphicFramePr>
        <p:xfrm>
          <a:off x="51105" y="1530666"/>
          <a:ext cx="12096000" cy="134102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7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40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0812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18049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2113">
                  <a:extLst>
                    <a:ext uri="{9D8B030D-6E8A-4147-A177-3AD203B41FA5}">
                      <a16:colId xmlns:a16="http://schemas.microsoft.com/office/drawing/2014/main" val="3885344299"/>
                    </a:ext>
                  </a:extLst>
                </a:gridCol>
              </a:tblGrid>
              <a:tr h="249008"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ION LIST 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945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 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758988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978086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802286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642226"/>
                  </a:ext>
                </a:extLst>
              </a:tr>
            </a:tbl>
          </a:graphicData>
        </a:graphic>
      </p:graphicFrame>
      <p:sp>
        <p:nvSpPr>
          <p:cNvPr id="16" name="Snip Diagonal Corner of Rectangle 13">
            <a:extLst>
              <a:ext uri="{FF2B5EF4-FFF2-40B4-BE49-F238E27FC236}">
                <a16:creationId xmlns:a16="http://schemas.microsoft.com/office/drawing/2014/main" id="{A13B3401-4F5B-461A-B2E3-B8CFF4244495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232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7BFC6C-56CF-8DB0-F068-61F9CF1EA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674288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hmi Shah Nalkatli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29F412F-2053-4524-A258-60582DC80D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09" y="1537976"/>
            <a:ext cx="6616699" cy="4765934"/>
          </a:xfrm>
          <a:prstGeom prst="rect">
            <a:avLst/>
          </a:prstGeom>
        </p:spPr>
      </p:pic>
      <p:sp>
        <p:nvSpPr>
          <p:cNvPr id="12" name="Snip Diagonal Corner of Rectangle 13">
            <a:extLst>
              <a:ext uri="{FF2B5EF4-FFF2-40B4-BE49-F238E27FC236}">
                <a16:creationId xmlns:a16="http://schemas.microsoft.com/office/drawing/2014/main" id="{DBC7917C-B29B-4DAD-B986-62B16AC6EA83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882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2C6D877-1875-5E3A-B7F9-89E51421E8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279869"/>
              </p:ext>
            </p:extLst>
          </p:nvPr>
        </p:nvGraphicFramePr>
        <p:xfrm>
          <a:off x="37939" y="1602608"/>
          <a:ext cx="12087233" cy="18979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6100">
                  <a:extLst>
                    <a:ext uri="{9D8B030D-6E8A-4147-A177-3AD203B41FA5}">
                      <a16:colId xmlns:a16="http://schemas.microsoft.com/office/drawing/2014/main" val="640005101"/>
                    </a:ext>
                  </a:extLst>
                </a:gridCol>
                <a:gridCol w="8757725">
                  <a:extLst>
                    <a:ext uri="{9D8B030D-6E8A-4147-A177-3AD203B41FA5}">
                      <a16:colId xmlns:a16="http://schemas.microsoft.com/office/drawing/2014/main" val="2036078134"/>
                    </a:ext>
                  </a:extLst>
                </a:gridCol>
                <a:gridCol w="858901">
                  <a:extLst>
                    <a:ext uri="{9D8B030D-6E8A-4147-A177-3AD203B41FA5}">
                      <a16:colId xmlns:a16="http://schemas.microsoft.com/office/drawing/2014/main" val="3563466801"/>
                    </a:ext>
                  </a:extLst>
                </a:gridCol>
                <a:gridCol w="2084507">
                  <a:extLst>
                    <a:ext uri="{9D8B030D-6E8A-4147-A177-3AD203B41FA5}">
                      <a16:colId xmlns:a16="http://schemas.microsoft.com/office/drawing/2014/main" val="2540416788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kern="1200">
                          <a:solidFill>
                            <a:schemeClr val="lt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YMENT MILESTONE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YMENT MILESTONE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6332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lestones Descrip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799742"/>
                  </a:ext>
                </a:extLst>
              </a:tr>
              <a:tr h="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EFEFEF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VSC</a:t>
                      </a:r>
                      <a:r>
                        <a:rPr lang="en-US" sz="1100" b="1" kern="1200">
                          <a:solidFill>
                            <a:schemeClr val="lt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IMPLEMENTATION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598558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en-MY" alt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ck-Off and URS Sign-Off 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ID</a:t>
                      </a:r>
                    </a:p>
                  </a:txBody>
                  <a:tcPr marL="81303" marR="81303" marT="40651" marB="40651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560590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1 UAT Sign Off and Tech Service Go Live </a:t>
                      </a:r>
                      <a:endParaRPr lang="en-US" sz="9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904324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2 UAT Sign Off and Tech Service Go Live </a:t>
                      </a:r>
                      <a:endParaRPr lang="en-US" sz="900" kern="120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591496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3 UAT Sign Off and Tech Service Go Live </a:t>
                      </a:r>
                      <a:endParaRPr lang="en-US" sz="900" kern="120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596618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ation and Service </a:t>
                      </a:r>
                      <a:r>
                        <a:rPr lang="en-US" sz="900" kern="120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</a:t>
                      </a: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losure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825492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7BFC6C-56CF-8DB0-F068-61F9CF1EA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474529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hmi Shah Nalkatli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ms-MY" sz="1100" b="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th July 2023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Snip Diagonal Corner of Rectangle 13">
            <a:extLst>
              <a:ext uri="{FF2B5EF4-FFF2-40B4-BE49-F238E27FC236}">
                <a16:creationId xmlns:a16="http://schemas.microsoft.com/office/drawing/2014/main" id="{0E273524-D1C5-4171-B5A6-A3B24AD05C0F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663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11f770-220a-47f5-b96a-99a900bce551">
      <Terms xmlns="http://schemas.microsoft.com/office/infopath/2007/PartnerControls"/>
    </lcf76f155ced4ddcb4097134ff3c332f>
    <TaxCatchAll xmlns="8f37eba0-b02f-4c63-8dab-e8ff8634d51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CDEBFA47F8342A6731007345BBC4C" ma:contentTypeVersion="11" ma:contentTypeDescription="Create a new document." ma:contentTypeScope="" ma:versionID="61f93e2a6faf292863ac782ac852d21e">
  <xsd:schema xmlns:xsd="http://www.w3.org/2001/XMLSchema" xmlns:xs="http://www.w3.org/2001/XMLSchema" xmlns:p="http://schemas.microsoft.com/office/2006/metadata/properties" xmlns:ns2="3411f770-220a-47f5-b96a-99a900bce551" xmlns:ns3="8f37eba0-b02f-4c63-8dab-e8ff8634d518" targetNamespace="http://schemas.microsoft.com/office/2006/metadata/properties" ma:root="true" ma:fieldsID="b113773cd7d1db868210feb359bcc52f" ns2:_="" ns3:_="">
    <xsd:import namespace="3411f770-220a-47f5-b96a-99a900bce551"/>
    <xsd:import namespace="8f37eba0-b02f-4c63-8dab-e8ff8634d5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11f770-220a-47f5-b96a-99a900bce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5b0b7006-5876-42bf-825b-482e86ead1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37eba0-b02f-4c63-8dab-e8ff8634d51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375455a8-d645-4f1c-a62f-7b273960a7cb}" ma:internalName="TaxCatchAll" ma:showField="CatchAllData" ma:web="8f37eba0-b02f-4c63-8dab-e8ff8634d5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7AE7FDA-5836-4249-A5EE-40ECD19F3172}">
  <ds:schemaRefs>
    <ds:schemaRef ds:uri="3411f770-220a-47f5-b96a-99a900bce551"/>
    <ds:schemaRef ds:uri="8f37eba0-b02f-4c63-8dab-e8ff8634d51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1BBFF58-C1CF-4C7D-99F5-E1CC80DB9288}">
  <ds:schemaRefs>
    <ds:schemaRef ds:uri="3411f770-220a-47f5-b96a-99a900bce551"/>
    <ds:schemaRef ds:uri="8f37eba0-b02f-4c63-8dab-e8ff8634d51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B9E1B50-983C-43BB-A1FA-49BF6B62FC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5</TotalTime>
  <Words>1119</Words>
  <Application>Microsoft Office PowerPoint</Application>
  <PresentationFormat>Widescreen</PresentationFormat>
  <Paragraphs>436</Paragraphs>
  <Slides>7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Tahoma</vt:lpstr>
      <vt:lpstr>Office Theme</vt:lpstr>
      <vt:lpstr>think-cell Slide</vt:lpstr>
      <vt:lpstr>MEDIUM VOLTAGE SUPPLY CONNECTION IN ENERGYSENSE (MVSC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ehana</dc:creator>
  <cp:lastModifiedBy>Arvindh Innotech</cp:lastModifiedBy>
  <cp:revision>3</cp:revision>
  <dcterms:created xsi:type="dcterms:W3CDTF">2018-01-02T01:29:00Z</dcterms:created>
  <dcterms:modified xsi:type="dcterms:W3CDTF">2024-04-18T06:4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CDEBFA47F8342A6731007345BBC4C</vt:lpwstr>
  </property>
  <property fmtid="{D5CDD505-2E9C-101B-9397-08002B2CF9AE}" pid="3" name="MediaServiceImageTags">
    <vt:lpwstr/>
  </property>
</Properties>
</file>